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024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611735" y="3031773"/>
            <a:ext cx="17064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4986867" y="3050303"/>
            <a:ext cx="0" cy="62210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611735" y="9271322"/>
            <a:ext cx="170330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FE916FE-F324-FD28-9ED0-D238E93F3ECC}"/>
              </a:ext>
            </a:extLst>
          </p:cNvPr>
          <p:cNvSpPr/>
          <p:nvPr/>
        </p:nvSpPr>
        <p:spPr>
          <a:xfrm>
            <a:off x="1005443" y="2897827"/>
            <a:ext cx="3870380" cy="2753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37245">
              <a:defRPr/>
            </a:pPr>
            <a:endParaRPr lang="en-IN" sz="22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1009534" y="1734911"/>
            <a:ext cx="3862199" cy="905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207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8CE85C-8C76-AF01-116F-1FEF5DA6B2E4}"/>
              </a:ext>
            </a:extLst>
          </p:cNvPr>
          <p:cNvSpPr/>
          <p:nvPr/>
        </p:nvSpPr>
        <p:spPr>
          <a:xfrm>
            <a:off x="5164576" y="2897827"/>
            <a:ext cx="3870380" cy="2753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37245">
              <a:defRPr/>
            </a:pPr>
            <a:endParaRPr lang="en-IN" sz="22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5168660" y="1734911"/>
            <a:ext cx="3862200" cy="905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207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D043E9-32CD-EFFC-B3AA-D08349810C01}"/>
              </a:ext>
            </a:extLst>
          </p:cNvPr>
          <p:cNvSpPr/>
          <p:nvPr/>
        </p:nvSpPr>
        <p:spPr>
          <a:xfrm>
            <a:off x="9288301" y="2897827"/>
            <a:ext cx="3870380" cy="2753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37245">
              <a:defRPr/>
            </a:pPr>
            <a:endParaRPr lang="en-IN" sz="22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9292385" y="1734911"/>
            <a:ext cx="3862200" cy="905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207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9144000" y="3050303"/>
            <a:ext cx="0" cy="62210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5106866" y="3887398"/>
            <a:ext cx="4026014" cy="339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207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5106866" y="3375931"/>
            <a:ext cx="4026014" cy="339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1300322">
              <a:buClr>
                <a:srgbClr val="000000"/>
              </a:buClr>
              <a:defRPr/>
            </a:pPr>
            <a:r>
              <a:rPr lang="en-US" sz="2207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9230591" y="3887398"/>
            <a:ext cx="4026014" cy="339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207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9230591" y="3375931"/>
            <a:ext cx="4026014" cy="339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1300322">
              <a:buClr>
                <a:srgbClr val="000000"/>
              </a:buClr>
              <a:defRPr/>
            </a:pPr>
            <a:r>
              <a:rPr lang="en-US" sz="2207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960854" y="3887398"/>
            <a:ext cx="4026014" cy="339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207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960854" y="3375931"/>
            <a:ext cx="4026014" cy="339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1300322">
              <a:buClr>
                <a:srgbClr val="000000"/>
              </a:buClr>
              <a:defRPr/>
            </a:pPr>
            <a:r>
              <a:rPr lang="en-US" sz="2207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2F8C61-6266-35F9-398F-C1494C94B6ED}"/>
              </a:ext>
            </a:extLst>
          </p:cNvPr>
          <p:cNvSpPr/>
          <p:nvPr/>
        </p:nvSpPr>
        <p:spPr>
          <a:xfrm>
            <a:off x="13445434" y="2897827"/>
            <a:ext cx="3870380" cy="2753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37245">
              <a:defRPr/>
            </a:pPr>
            <a:endParaRPr lang="en-IN" sz="22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13449518" y="1734911"/>
            <a:ext cx="3862200" cy="905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207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13301133" y="3050303"/>
            <a:ext cx="0" cy="62210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13343194" y="3887398"/>
            <a:ext cx="4026014" cy="339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207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13343194" y="3375931"/>
            <a:ext cx="4026014" cy="339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1300322">
              <a:buClr>
                <a:srgbClr val="000000"/>
              </a:buClr>
              <a:defRPr/>
            </a:pPr>
            <a:r>
              <a:rPr lang="en-US" sz="2207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55397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9</TotalTime>
  <Words>22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Roboto Lt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32</cp:revision>
  <dcterms:created xsi:type="dcterms:W3CDTF">2006-08-16T00:00:00Z</dcterms:created>
  <dcterms:modified xsi:type="dcterms:W3CDTF">2025-10-06T10:35:26Z</dcterms:modified>
  <cp:category/>
  <dc:identifier>DAGkDf5R9EM</dc:identifier>
</cp:coreProperties>
</file>